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6"/>
  </p:notesMasterIdLst>
  <p:handoutMasterIdLst>
    <p:handoutMasterId r:id="rId7"/>
  </p:handoutMasterIdLst>
  <p:sldIdLst>
    <p:sldId id="691" r:id="rId2"/>
    <p:sldId id="692" r:id="rId3"/>
    <p:sldId id="693" r:id="rId4"/>
    <p:sldId id="739" r:id="rId5"/>
  </p:sldIdLst>
  <p:sldSz cx="9602788" cy="6858000"/>
  <p:notesSz cx="6973888" cy="9236075"/>
  <p:custDataLst>
    <p:tags r:id="rId8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CCCC"/>
    <a:srgbClr val="E8F6E6"/>
    <a:srgbClr val="008AB3"/>
    <a:srgbClr val="FFDDDD"/>
    <a:srgbClr val="FCE0E2"/>
    <a:srgbClr val="D7E4BD"/>
    <a:srgbClr val="FF0000"/>
    <a:srgbClr val="BFBFBF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83" d="100"/>
          <a:sy n="83" d="100"/>
        </p:scale>
        <p:origin x="-1362" y="-72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692150"/>
            <a:ext cx="4851400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6761" y="4386507"/>
            <a:ext cx="5580371" cy="415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lvl="0" indent="-228600" eaLnBrk="1" hangingPunct="1">
              <a:spcBef>
                <a:spcPct val="60000"/>
              </a:spcBef>
              <a:spcAft>
                <a:spcPts val="600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5800" lvl="2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4400" lvl="3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3000" lvl="4" indent="-2286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1600" lvl="5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0200" lvl="6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28800" lvl="7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57400" lvl="8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2038" y="692150"/>
            <a:ext cx="4851400" cy="3465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49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2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010629"/>
              </p:ext>
            </p:extLst>
          </p:nvPr>
        </p:nvGraphicFramePr>
        <p:xfrm>
          <a:off x="349317" y="994410"/>
          <a:ext cx="8912368" cy="3450336"/>
        </p:xfrm>
        <a:graphic>
          <a:graphicData uri="http://schemas.openxmlformats.org/drawingml/2006/table">
            <a:tbl>
              <a:tblPr firstRow="1" bandRow="1"/>
              <a:tblGrid>
                <a:gridCol w="914400"/>
                <a:gridCol w="1637458"/>
                <a:gridCol w="851478"/>
                <a:gridCol w="851478"/>
                <a:gridCol w="851478"/>
                <a:gridCol w="851478"/>
                <a:gridCol w="851478"/>
                <a:gridCol w="2103120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row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tios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on Equity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.97%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16%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73%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Risk-based Capital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80%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.77%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.28%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3.50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8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9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2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4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 1 Risk-based</a:t>
                      </a:r>
                      <a:r>
                        <a:rPr lang="en-US" sz="1000" b="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pital</a:t>
                      </a:r>
                      <a:endParaRPr lang="en-US" sz="1000" b="0" i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62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1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row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 (CCAR 9Q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639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861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 in Stres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</a:p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Tota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 RWA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- $2B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 of CET1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61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5618802"/>
              </p:ext>
            </p:extLst>
          </p:nvPr>
        </p:nvGraphicFramePr>
        <p:xfrm>
          <a:off x="348436" y="978535"/>
          <a:ext cx="8940577" cy="4782312"/>
        </p:xfrm>
        <a:graphic>
          <a:graphicData uri="http://schemas.openxmlformats.org/drawingml/2006/table">
            <a:tbl>
              <a:tblPr firstRow="1" bandRow="1"/>
              <a:tblGrid>
                <a:gridCol w="914400"/>
                <a:gridCol w="1728190"/>
                <a:gridCol w="628707"/>
                <a:gridCol w="640080"/>
                <a:gridCol w="640080"/>
                <a:gridCol w="640080"/>
                <a:gridCol w="822960"/>
                <a:gridCol w="822960"/>
                <a:gridCol w="2103120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rowSpan="7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redit Losses </a:t>
                      </a: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CAR 9Q)</a:t>
                      </a:r>
                      <a:endParaRPr lang="en-US" sz="10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2,6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3,1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measure only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Rate</a:t>
                      </a:r>
                      <a:endParaRPr lang="en-US" sz="10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y available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the portfolio level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9%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/61+</a:t>
                      </a:r>
                      <a:r>
                        <a:rPr lang="en-US" sz="1000" b="0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PD Rate</a:t>
                      </a:r>
                      <a:endParaRPr lang="en-US" sz="10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Retail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3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7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rowSpan="1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concentration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 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50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 Exposur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&amp;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surance Exposur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8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7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9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 product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ew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.4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7.6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.9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31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43BN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.40B</a:t>
                      </a:r>
                    </a:p>
                  </a:txBody>
                  <a:tcPr marL="48014" marR="48014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lic Sector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82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65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48M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3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43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46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 Assets </a:t>
                      </a: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Subprime Asse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344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49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509891"/>
              </p:ext>
            </p:extLst>
          </p:nvPr>
        </p:nvGraphicFramePr>
        <p:xfrm>
          <a:off x="348436" y="989965"/>
          <a:ext cx="9147422" cy="3297936"/>
        </p:xfrm>
        <a:graphic>
          <a:graphicData uri="http://schemas.openxmlformats.org/drawingml/2006/table">
            <a:tbl>
              <a:tblPr firstRow="1" bandRow="1"/>
              <a:tblGrid>
                <a:gridCol w="914400"/>
                <a:gridCol w="1649342"/>
                <a:gridCol w="914400"/>
                <a:gridCol w="640080"/>
                <a:gridCol w="640080"/>
                <a:gridCol w="640080"/>
                <a:gridCol w="822960"/>
                <a:gridCol w="822960"/>
                <a:gridCol w="2103120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valu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isk / CRLIT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5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funding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ssed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ay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day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 – EUR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1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Coverage Ratio Modified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US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7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uctural Funding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io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Horizon - 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esale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arent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ly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24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 month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6 months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expected to remain green 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Encumbrance (%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II</a:t>
                      </a:r>
                      <a:r>
                        <a:rPr lang="en-US" sz="1000" b="0" i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</a:t>
                      </a: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4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5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VE</a:t>
                      </a:r>
                      <a:r>
                        <a:rPr lang="en-US" sz="1000" b="0" i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(+/- 100bps)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6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7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 (VaR)</a:t>
                      </a:r>
                      <a:endParaRPr lang="en-US" sz="10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9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0011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55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352696"/>
              </p:ext>
            </p:extLst>
          </p:nvPr>
        </p:nvGraphicFramePr>
        <p:xfrm>
          <a:off x="348437" y="1001395"/>
          <a:ext cx="8969577" cy="2113280"/>
        </p:xfrm>
        <a:graphic>
          <a:graphicData uri="http://schemas.openxmlformats.org/drawingml/2006/table">
            <a:tbl>
              <a:tblPr firstRow="1" bandRow="1"/>
              <a:tblGrid>
                <a:gridCol w="982182"/>
                <a:gridCol w="2521422"/>
                <a:gridCol w="1097280"/>
                <a:gridCol w="1097280"/>
                <a:gridCol w="327141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litative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nt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Operational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Margin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  <a:p>
                      <a:pPr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endParaRPr lang="en-US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/o Appropriate Approval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6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48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2016 – 11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Q2016 – 103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2016 – 4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  <a:p>
                      <a:pPr mar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forecasted in P-19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RAS - Strategic Plan Foreca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756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683</TotalTime>
  <Words>735</Words>
  <Application>Microsoft Office PowerPoint</Application>
  <PresentationFormat>Custom</PresentationFormat>
  <Paragraphs>267</Paragraphs>
  <Slides>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Parrish, Rut</cp:lastModifiedBy>
  <cp:revision>1298</cp:revision>
  <cp:lastPrinted>2016-04-01T20:38:17Z</cp:lastPrinted>
  <dcterms:created xsi:type="dcterms:W3CDTF">2016-03-28T17:49:32Z</dcterms:created>
  <dcterms:modified xsi:type="dcterms:W3CDTF">2016-07-08T19:0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